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  <p:sldId id="258" r:id="rId3"/>
    <p:sldId id="256" r:id="rId4"/>
  </p:sldIdLst>
  <p:sldSz cx="12192000" cy="6858000"/>
  <p:notesSz cx="6858000" cy="9144000"/>
  <p:custDataLst>
    <p:tags r:id="rId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2" d="100"/>
          <a:sy n="82" d="100"/>
        </p:scale>
        <p:origin x="643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E6F144-4C7D-3B7D-F19B-B32D4BA5C5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4DBB29-5F33-2034-9551-DA9B3AA6B6E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157700-403E-93AE-0710-FBF56F55C5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1CEDCD-6A8C-4467-8D7B-E8C2451FFC44}" type="datetimeFigureOut">
              <a:rPr lang="en-US" smtClean="0"/>
              <a:t>11/1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9182D7-34DF-C4F5-73D1-784F6FC382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678ADC-6D41-0C38-6263-422715B3B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38E7BD-6813-4174-BC40-B92D4F1C12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18344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F347BA-9B4E-F7AA-90A7-D7C8F4660A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527F7AB-9B5C-404F-BD83-33339D9B4E2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9ED6E7-8087-9D38-F137-98D5E450A4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1CEDCD-6A8C-4467-8D7B-E8C2451FFC44}" type="datetimeFigureOut">
              <a:rPr lang="en-US" smtClean="0"/>
              <a:t>11/1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596A20-9CB8-4569-C72E-743E9A526C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E503A6-FBCA-662B-B1B9-D80F5559B9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38E7BD-6813-4174-BC40-B92D4F1C12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85305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DA70BEE-4CCC-0143-9588-1F548484965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3956057-AFAF-0909-02F4-13017F7D2ED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06DE2F-0C9C-3F95-F173-CE2C85BB16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1CEDCD-6A8C-4467-8D7B-E8C2451FFC44}" type="datetimeFigureOut">
              <a:rPr lang="en-US" smtClean="0"/>
              <a:t>11/1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DEFA32-2F67-0FCE-11A7-0723D397B4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80B333-6806-B315-D5BD-A3EFA4D560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38E7BD-6813-4174-BC40-B92D4F1C12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11463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1C4884-7C39-6BFF-8DF9-66EBD9932D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199809-FC66-CCFF-DBE5-449DDA8198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86234E-B720-6C9B-12E1-7A394C2BFA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1CEDCD-6A8C-4467-8D7B-E8C2451FFC44}" type="datetimeFigureOut">
              <a:rPr lang="en-US" smtClean="0"/>
              <a:t>11/1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6AAF05-290D-D8DE-1D5E-4B176DB629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058A15-9311-F033-B3D2-D5BD94E511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38E7BD-6813-4174-BC40-B92D4F1C12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53866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2D0DF7-1C4F-332B-AD38-D458DE4F96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C393F2-65DB-F8EC-6EDD-82A13B638EC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12ED31-17DE-FA5F-A283-782C28AC9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1CEDCD-6A8C-4467-8D7B-E8C2451FFC44}" type="datetimeFigureOut">
              <a:rPr lang="en-US" smtClean="0"/>
              <a:t>11/1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D75C22-C0F2-4268-05F0-E49FE9F3E1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460B1F-F5E2-8DCC-19A9-5E110FF34C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38E7BD-6813-4174-BC40-B92D4F1C12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71860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E6E52D-398A-C37B-FDD3-0EFF92F15C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64E5A3-688C-880C-856C-CDBF4EF8C50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0ABCE71-FA4C-6C97-67D5-B623BFDFE56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B3F692F-4FE6-8B68-14CB-D71A7066DF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1CEDCD-6A8C-4467-8D7B-E8C2451FFC44}" type="datetimeFigureOut">
              <a:rPr lang="en-US" smtClean="0"/>
              <a:t>11/15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323EC6-8A99-2E92-8B1E-AA24D55371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8E2D255-9EDA-5084-29C3-45DC37215B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38E7BD-6813-4174-BC40-B92D4F1C12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75599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747832-3135-F1D4-C948-974C779ABC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0D8DC3-0FF8-F267-2253-2C96FE9722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BA65ECF-2317-7591-76D5-2C7145B4058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0C3E288-26DF-2356-C877-ACFB74C121F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7FF308B-CE06-0AE1-AF0E-7F3B8C323C8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CD1E59C-7923-9C47-2AC1-E13B150AE3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1CEDCD-6A8C-4467-8D7B-E8C2451FFC44}" type="datetimeFigureOut">
              <a:rPr lang="en-US" smtClean="0"/>
              <a:t>11/15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846C1A4-851D-7D89-B93F-2378610F06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F6AB8DD-7316-7393-FA96-25A1128CD0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38E7BD-6813-4174-BC40-B92D4F1C12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53792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15441A-CCAA-DC5B-6381-ACB65F5203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E06D8C0-A5D0-B886-8D79-9ED6CD8ED2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1CEDCD-6A8C-4467-8D7B-E8C2451FFC44}" type="datetimeFigureOut">
              <a:rPr lang="en-US" smtClean="0"/>
              <a:t>11/15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A2B085-016B-CE0E-E512-BED3B8D429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B3085BC-66E7-167C-16F8-8562872F3B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38E7BD-6813-4174-BC40-B92D4F1C12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93907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5C7191-B3AC-A698-C0C5-6642E622A1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1CEDCD-6A8C-4467-8D7B-E8C2451FFC44}" type="datetimeFigureOut">
              <a:rPr lang="en-US" smtClean="0"/>
              <a:t>11/15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D215B58-ADA3-BE67-EFC6-E6803AB02F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5DC302-FFA4-275E-4E6D-4FDC47F2B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38E7BD-6813-4174-BC40-B92D4F1C12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73210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5381E-10B9-02B1-FF39-690802BB79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7F4315-E726-7DF1-CD20-FE58928571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518600-48F3-4C0E-201C-A349160146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DAB525-C6AA-3B59-F7F1-841681BFE1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1CEDCD-6A8C-4467-8D7B-E8C2451FFC44}" type="datetimeFigureOut">
              <a:rPr lang="en-US" smtClean="0"/>
              <a:t>11/15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C637E5-203C-6C5E-0471-2901C5E597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3E6DDC9-31C8-446A-5750-A4F80F4E90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38E7BD-6813-4174-BC40-B92D4F1C12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94501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5F262B-23FE-E82B-B65E-414AD30C06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99C3C6D-F1FE-E4E8-5FB2-17B6C83A91C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F5A188-163C-F5A9-0436-997FD7A9836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B309BE2-4190-67EE-10B1-58EF3D23B6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1CEDCD-6A8C-4467-8D7B-E8C2451FFC44}" type="datetimeFigureOut">
              <a:rPr lang="en-US" smtClean="0"/>
              <a:t>11/15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5DA4CE-1092-84E8-B4CE-D351887462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A4B781B-ED31-FBD8-C1BE-14ADF9B243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38E7BD-6813-4174-BC40-B92D4F1C12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87317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5EC76DE-A33E-8866-5D05-E4C7DEF4F5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3382780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5" imgH="426" progId="TCLayout.ActiveDocument.1">
                  <p:embed/>
                </p:oleObj>
              </mc:Choice>
              <mc:Fallback>
                <p:oleObj name="think-cell Slide" r:id="rId1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0EEFF48-E813-BF25-326A-CE848A37E4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E5D76B-7C90-6B9E-EF8B-E0CF93A47D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CC6D077-200B-347F-004F-56D50982F7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A1CEDCD-6A8C-4467-8D7B-E8C2451FFC44}" type="datetimeFigureOut">
              <a:rPr lang="en-US" smtClean="0"/>
              <a:t>11/1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EC7550-3D49-6213-D4F9-76CA758A6A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217DB1-F32C-7742-6E8A-BF704BBDF7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38E7BD-6813-4174-BC40-B92D4F1C12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1670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11820DB-06AC-70B2-A113-0071FEA596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3943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B204CB6B-0900-BDF9-49E7-AD963312695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16200000">
            <a:off x="2306220" y="-1277527"/>
            <a:ext cx="6564077" cy="950011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87498DC-3E57-9FD1-BC8D-4EB5B3E4E048}"/>
              </a:ext>
            </a:extLst>
          </p:cNvPr>
          <p:cNvSpPr/>
          <p:nvPr/>
        </p:nvSpPr>
        <p:spPr>
          <a:xfrm>
            <a:off x="2957804" y="755780"/>
            <a:ext cx="2407298" cy="1446244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8BB9C228-D556-FA11-6EC7-5EE4AE370D74}"/>
              </a:ext>
            </a:extLst>
          </p:cNvPr>
          <p:cNvCxnSpPr>
            <a:cxnSpLocks/>
          </p:cNvCxnSpPr>
          <p:nvPr/>
        </p:nvCxnSpPr>
        <p:spPr>
          <a:xfrm>
            <a:off x="5169159" y="2967134"/>
            <a:ext cx="755779" cy="0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5AB7396E-2197-C6D6-F683-19EF3356C450}"/>
              </a:ext>
            </a:extLst>
          </p:cNvPr>
          <p:cNvCxnSpPr>
            <a:cxnSpLocks/>
          </p:cNvCxnSpPr>
          <p:nvPr/>
        </p:nvCxnSpPr>
        <p:spPr>
          <a:xfrm>
            <a:off x="82420" y="5778759"/>
            <a:ext cx="755779" cy="0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855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088D0DC-7FB0-C53A-D804-2F4EC8098D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1701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FB5F1707-26A3-B3C2-5012-7FBD4AB22BF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16200000">
            <a:off x="2299677" y="-1101330"/>
            <a:ext cx="6698459" cy="9042920"/>
          </a:xfrm>
          <a:prstGeom prst="rect">
            <a:avLst/>
          </a:prstGeom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D30C3958-02B9-424A-D04B-DCF4D1A4ADD4}"/>
              </a:ext>
            </a:extLst>
          </p:cNvPr>
          <p:cNvCxnSpPr/>
          <p:nvPr/>
        </p:nvCxnSpPr>
        <p:spPr>
          <a:xfrm flipH="1">
            <a:off x="5169160" y="5374432"/>
            <a:ext cx="634481" cy="0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E0E5D122-0F75-BBCF-FC63-AD3764FFE380}"/>
              </a:ext>
            </a:extLst>
          </p:cNvPr>
          <p:cNvCxnSpPr/>
          <p:nvPr/>
        </p:nvCxnSpPr>
        <p:spPr>
          <a:xfrm flipH="1">
            <a:off x="5169160" y="5862734"/>
            <a:ext cx="634481" cy="0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4C060ACC-1C38-A540-7800-20E237F8C1A2}"/>
              </a:ext>
            </a:extLst>
          </p:cNvPr>
          <p:cNvCxnSpPr/>
          <p:nvPr/>
        </p:nvCxnSpPr>
        <p:spPr>
          <a:xfrm flipH="1">
            <a:off x="9641634" y="2354424"/>
            <a:ext cx="634481" cy="0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E921405C-204E-5F40-FBD7-40F76ECAF242}"/>
              </a:ext>
            </a:extLst>
          </p:cNvPr>
          <p:cNvCxnSpPr/>
          <p:nvPr/>
        </p:nvCxnSpPr>
        <p:spPr>
          <a:xfrm flipH="1">
            <a:off x="5169160" y="6285722"/>
            <a:ext cx="634481" cy="0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81ECCDA1-6590-DE0A-50F3-5B1ED2349112}"/>
              </a:ext>
            </a:extLst>
          </p:cNvPr>
          <p:cNvCxnSpPr/>
          <p:nvPr/>
        </p:nvCxnSpPr>
        <p:spPr>
          <a:xfrm flipH="1">
            <a:off x="9641634" y="2786742"/>
            <a:ext cx="634481" cy="0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2FF789F5-7E4A-D7EB-F3A6-758F14F4FD7B}"/>
              </a:ext>
            </a:extLst>
          </p:cNvPr>
          <p:cNvCxnSpPr/>
          <p:nvPr/>
        </p:nvCxnSpPr>
        <p:spPr>
          <a:xfrm flipH="1">
            <a:off x="9535886" y="3256383"/>
            <a:ext cx="634481" cy="0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8015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81DA879-822A-D078-C91F-7FF8767DCA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7320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9E1A66B7-E728-B256-0F02-1BB31335379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02647" y="0"/>
            <a:ext cx="918670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58411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0</Words>
  <Application>Microsoft Office PowerPoint</Application>
  <PresentationFormat>Widescreen</PresentationFormat>
  <Paragraphs>0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stach, Peter (LI - ADP_GSP)</dc:creator>
  <cp:lastModifiedBy>Gstach, Peter (LI - ADP_GSP)</cp:lastModifiedBy>
  <cp:revision>1</cp:revision>
  <dcterms:created xsi:type="dcterms:W3CDTF">2023-11-15T13:26:09Z</dcterms:created>
  <dcterms:modified xsi:type="dcterms:W3CDTF">2023-11-15T13:26:39Z</dcterms:modified>
</cp:coreProperties>
</file>